
<file path=[Content_Types].xml><?xml version="1.0" encoding="utf-8"?>
<Types xmlns="http://schemas.openxmlformats.org/package/2006/content-types">
  <Default Extension="bin" ContentType="application/vnd.openxmlformats-officedocument.oleObject"/>
  <Default Extension="bmp" ContentType="image/bmp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  <p:sldMasterId id="2147484806" r:id="rId2"/>
    <p:sldMasterId id="2147484868" r:id="rId3"/>
    <p:sldMasterId id="2147484916" r:id="rId4"/>
    <p:sldMasterId id="2147485021" r:id="rId5"/>
    <p:sldMasterId id="2147485040" r:id="rId6"/>
    <p:sldMasterId id="2147485056" r:id="rId7"/>
    <p:sldMasterId id="2147485122" r:id="rId8"/>
  </p:sldMasterIdLst>
  <p:notesMasterIdLst>
    <p:notesMasterId r:id="rId23"/>
  </p:notesMasterIdLst>
  <p:sldIdLst>
    <p:sldId id="1025" r:id="rId9"/>
    <p:sldId id="1947" r:id="rId10"/>
    <p:sldId id="1959" r:id="rId11"/>
    <p:sldId id="1971" r:id="rId12"/>
    <p:sldId id="1952" r:id="rId13"/>
    <p:sldId id="1981" r:id="rId14"/>
    <p:sldId id="1975" r:id="rId15"/>
    <p:sldId id="1976" r:id="rId16"/>
    <p:sldId id="1977" r:id="rId17"/>
    <p:sldId id="1978" r:id="rId18"/>
    <p:sldId id="1979" r:id="rId19"/>
    <p:sldId id="1955" r:id="rId20"/>
    <p:sldId id="1980" r:id="rId21"/>
    <p:sldId id="1956" r:id="rId22"/>
  </p:sldIdLst>
  <p:sldSz cx="9144000" cy="6858000" type="screen4x3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yner, Josh" initials="WJ" lastIdx="5" clrIdx="0"/>
  <p:cmAuthor id="1" name="Keith" initials="K" lastIdx="2" clrIdx="1"/>
  <p:cmAuthor id="2" name="Linda Perlstein" initials="" lastIdx="10" clrIdx="2"/>
  <p:cmAuthor id="3" name="Bridget DeSimone" initials="BD" lastIdx="6" clrIdx="3"/>
  <p:cmAuthor id="4" name="Arsenault, Leigh" initials="AL" lastIdx="2" clrIdx="4"/>
  <p:cmAuthor id="5" name="Kelley Karandjeff" initials="KK" lastIdx="1" clrIdx="5">
    <p:extLst>
      <p:ext uri="{19B8F6BF-5375-455C-9EA6-DF929625EA0E}">
        <p15:presenceInfo xmlns:p15="http://schemas.microsoft.com/office/powerpoint/2012/main" userId="995163bab1a338f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7D88"/>
    <a:srgbClr val="0989B1"/>
    <a:srgbClr val="4AB5C4"/>
    <a:srgbClr val="0354A0"/>
    <a:srgbClr val="91E5B3"/>
    <a:srgbClr val="9CFAC5"/>
    <a:srgbClr val="72CDF4"/>
    <a:srgbClr val="99D625"/>
    <a:srgbClr val="FFE200"/>
    <a:srgbClr val="FFB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809C18-7FA1-47EE-B57A-E7DBA4272B23}" v="5" dt="2020-06-23T01:27:32.3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82" autoAdjust="0"/>
    <p:restoredTop sz="93907" autoAdjust="0"/>
  </p:normalViewPr>
  <p:slideViewPr>
    <p:cSldViewPr snapToGrid="0">
      <p:cViewPr varScale="1">
        <p:scale>
          <a:sx n="63" d="100"/>
          <a:sy n="63" d="100"/>
        </p:scale>
        <p:origin x="1212" y="6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20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7808"/>
    </p:cViewPr>
  </p:sorterViewPr>
  <p:notesViewPr>
    <p:cSldViewPr>
      <p:cViewPr varScale="1">
        <p:scale>
          <a:sx n="84" d="100"/>
          <a:sy n="84" d="100"/>
        </p:scale>
        <p:origin x="-1884" y="-78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Johnstone" userId="cb449c38944dd802" providerId="LiveId" clId="{11809C18-7FA1-47EE-B57A-E7DBA4272B23}"/>
    <pc:docChg chg="modSld">
      <pc:chgData name="Robert Johnstone" userId="cb449c38944dd802" providerId="LiveId" clId="{11809C18-7FA1-47EE-B57A-E7DBA4272B23}" dt="2020-06-23T01:27:29.455" v="97" actId="20577"/>
      <pc:docMkLst>
        <pc:docMk/>
      </pc:docMkLst>
      <pc:sldChg chg="modSp mod">
        <pc:chgData name="Robert Johnstone" userId="cb449c38944dd802" providerId="LiveId" clId="{11809C18-7FA1-47EE-B57A-E7DBA4272B23}" dt="2020-06-23T01:27:29.455" v="97" actId="20577"/>
        <pc:sldMkLst>
          <pc:docMk/>
          <pc:sldMk cId="2539340765" sldId="1025"/>
        </pc:sldMkLst>
        <pc:spChg chg="mod">
          <ac:chgData name="Robert Johnstone" userId="cb449c38944dd802" providerId="LiveId" clId="{11809C18-7FA1-47EE-B57A-E7DBA4272B23}" dt="2020-06-23T01:27:29.455" v="97" actId="20577"/>
          <ac:spMkLst>
            <pc:docMk/>
            <pc:sldMk cId="2539340765" sldId="1025"/>
            <ac:spMk id="3" creationId="{00000000-0000-0000-0000-000000000000}"/>
          </ac:spMkLst>
        </pc:spChg>
      </pc:sldChg>
      <pc:sldChg chg="modSp mod">
        <pc:chgData name="Robert Johnstone" userId="cb449c38944dd802" providerId="LiveId" clId="{11809C18-7FA1-47EE-B57A-E7DBA4272B23}" dt="2020-06-22T13:00:37.281" v="89" actId="20577"/>
        <pc:sldMkLst>
          <pc:docMk/>
          <pc:sldMk cId="128915136" sldId="1947"/>
        </pc:sldMkLst>
        <pc:spChg chg="mod">
          <ac:chgData name="Robert Johnstone" userId="cb449c38944dd802" providerId="LiveId" clId="{11809C18-7FA1-47EE-B57A-E7DBA4272B23}" dt="2020-06-22T13:00:37.281" v="89" actId="20577"/>
          <ac:spMkLst>
            <pc:docMk/>
            <pc:sldMk cId="128915136" sldId="1947"/>
            <ac:spMk id="3" creationId="{6370F228-B789-B249-BADA-2E1CF879D65B}"/>
          </ac:spMkLst>
        </pc:spChg>
      </pc:sldChg>
      <pc:sldChg chg="modSp mod">
        <pc:chgData name="Robert Johnstone" userId="cb449c38944dd802" providerId="LiveId" clId="{11809C18-7FA1-47EE-B57A-E7DBA4272B23}" dt="2020-06-22T13:00:55.250" v="96" actId="20577"/>
        <pc:sldMkLst>
          <pc:docMk/>
          <pc:sldMk cId="159093646" sldId="1956"/>
        </pc:sldMkLst>
        <pc:spChg chg="mod">
          <ac:chgData name="Robert Johnstone" userId="cb449c38944dd802" providerId="LiveId" clId="{11809C18-7FA1-47EE-B57A-E7DBA4272B23}" dt="2020-06-22T13:00:55.250" v="96" actId="20577"/>
          <ac:spMkLst>
            <pc:docMk/>
            <pc:sldMk cId="159093646" sldId="1956"/>
            <ac:spMk id="3" creationId="{AB752E70-FE32-5843-BE9F-04EE06E35745}"/>
          </ac:spMkLst>
        </pc:spChg>
      </pc:sldChg>
      <pc:sldChg chg="modSp mod">
        <pc:chgData name="Robert Johnstone" userId="cb449c38944dd802" providerId="LiveId" clId="{11809C18-7FA1-47EE-B57A-E7DBA4272B23}" dt="2020-06-22T13:00:42.081" v="91" actId="20577"/>
        <pc:sldMkLst>
          <pc:docMk/>
          <pc:sldMk cId="682321964" sldId="1959"/>
        </pc:sldMkLst>
        <pc:spChg chg="mod">
          <ac:chgData name="Robert Johnstone" userId="cb449c38944dd802" providerId="LiveId" clId="{11809C18-7FA1-47EE-B57A-E7DBA4272B23}" dt="2020-06-22T13:00:42.081" v="91" actId="20577"/>
          <ac:spMkLst>
            <pc:docMk/>
            <pc:sldMk cId="682321964" sldId="1959"/>
            <ac:spMk id="3" creationId="{00000000-0000-0000-0000-000000000000}"/>
          </ac:spMkLst>
        </pc:spChg>
      </pc:sldChg>
    </pc:docChg>
  </pc:docChgLst>
  <pc:docChgLst>
    <pc:chgData name="Robert Johnstone" userId="cb449c38944dd802" providerId="LiveId" clId="{C2277FAC-A4BD-416B-92CA-B3D38F73E87B}"/>
    <pc:docChg chg="custSel modSld">
      <pc:chgData name="Robert Johnstone" userId="cb449c38944dd802" providerId="LiveId" clId="{C2277FAC-A4BD-416B-92CA-B3D38F73E87B}" dt="2020-04-27T14:23:52.376" v="6" actId="20577"/>
      <pc:docMkLst>
        <pc:docMk/>
      </pc:docMkLst>
      <pc:sldChg chg="delCm">
        <pc:chgData name="Robert Johnstone" userId="cb449c38944dd802" providerId="LiveId" clId="{C2277FAC-A4BD-416B-92CA-B3D38F73E87B}" dt="2020-04-24T19:59:48.419" v="0" actId="1592"/>
        <pc:sldMkLst>
          <pc:docMk/>
          <pc:sldMk cId="128915136" sldId="1947"/>
        </pc:sldMkLst>
      </pc:sldChg>
      <pc:sldChg chg="modSp">
        <pc:chgData name="Robert Johnstone" userId="cb449c38944dd802" providerId="LiveId" clId="{C2277FAC-A4BD-416B-92CA-B3D38F73E87B}" dt="2020-04-27T14:23:52.376" v="6" actId="20577"/>
        <pc:sldMkLst>
          <pc:docMk/>
          <pc:sldMk cId="2603504375" sldId="1980"/>
        </pc:sldMkLst>
        <pc:spChg chg="mod">
          <ac:chgData name="Robert Johnstone" userId="cb449c38944dd802" providerId="LiveId" clId="{C2277FAC-A4BD-416B-92CA-B3D38F73E87B}" dt="2020-04-27T14:23:52.376" v="6" actId="20577"/>
          <ac:spMkLst>
            <pc:docMk/>
            <pc:sldMk cId="2603504375" sldId="1980"/>
            <ac:spMk id="4" creationId="{12A78684-835C-5C44-946B-7F76B373D4FB}"/>
          </ac:spMkLst>
        </pc:spChg>
      </pc:sldChg>
    </pc:docChg>
  </pc:docChgLst>
  <pc:docChgLst>
    <pc:chgData name="Robert Johnstone" userId="cb449c38944dd802" providerId="LiveId" clId="{00E079DC-640D-424F-8DF1-351EB8A0556F}"/>
    <pc:docChg chg="custSel addSld delSld modSld sldOrd">
      <pc:chgData name="Robert Johnstone" userId="cb449c38944dd802" providerId="LiveId" clId="{00E079DC-640D-424F-8DF1-351EB8A0556F}" dt="2020-04-02T18:22:36.360" v="323"/>
      <pc:docMkLst>
        <pc:docMk/>
      </pc:docMkLst>
      <pc:sldChg chg="addSp modSp">
        <pc:chgData name="Robert Johnstone" userId="cb449c38944dd802" providerId="LiveId" clId="{00E079DC-640D-424F-8DF1-351EB8A0556F}" dt="2020-04-02T18:22:36.360" v="323"/>
        <pc:sldMkLst>
          <pc:docMk/>
          <pc:sldMk cId="2539340765" sldId="1025"/>
        </pc:sldMkLst>
        <pc:spChg chg="mod">
          <ac:chgData name="Robert Johnstone" userId="cb449c38944dd802" providerId="LiveId" clId="{00E079DC-640D-424F-8DF1-351EB8A0556F}" dt="2020-03-31T16:30:36.719" v="308" actId="20577"/>
          <ac:spMkLst>
            <pc:docMk/>
            <pc:sldMk cId="2539340765" sldId="1025"/>
            <ac:spMk id="3" creationId="{00000000-0000-0000-0000-000000000000}"/>
          </ac:spMkLst>
        </pc:spChg>
        <pc:picChg chg="add">
          <ac:chgData name="Robert Johnstone" userId="cb449c38944dd802" providerId="LiveId" clId="{00E079DC-640D-424F-8DF1-351EB8A0556F}" dt="2020-04-02T18:22:36.360" v="323"/>
          <ac:picMkLst>
            <pc:docMk/>
            <pc:sldMk cId="2539340765" sldId="1025"/>
            <ac:picMk id="5" creationId="{8ABEFA8C-A754-4739-AEB3-9B0D633E139E}"/>
          </ac:picMkLst>
        </pc:picChg>
      </pc:sldChg>
      <pc:sldChg chg="modSp del ord">
        <pc:chgData name="Robert Johnstone" userId="cb449c38944dd802" providerId="LiveId" clId="{00E079DC-640D-424F-8DF1-351EB8A0556F}" dt="2020-03-29T15:48:26.188" v="33" actId="47"/>
        <pc:sldMkLst>
          <pc:docMk/>
          <pc:sldMk cId="1078822957" sldId="1769"/>
        </pc:sldMkLst>
        <pc:spChg chg="mod">
          <ac:chgData name="Robert Johnstone" userId="cb449c38944dd802" providerId="LiveId" clId="{00E079DC-640D-424F-8DF1-351EB8A0556F}" dt="2020-03-29T15:34:46.323" v="9" actId="207"/>
          <ac:spMkLst>
            <pc:docMk/>
            <pc:sldMk cId="1078822957" sldId="1769"/>
            <ac:spMk id="2" creationId="{00000000-0000-0000-0000-000000000000}"/>
          </ac:spMkLst>
        </pc:spChg>
      </pc:sldChg>
      <pc:sldChg chg="modSp">
        <pc:chgData name="Robert Johnstone" userId="cb449c38944dd802" providerId="LiveId" clId="{00E079DC-640D-424F-8DF1-351EB8A0556F}" dt="2020-03-29T17:23:00.640" v="34" actId="113"/>
        <pc:sldMkLst>
          <pc:docMk/>
          <pc:sldMk cId="128915136" sldId="1947"/>
        </pc:sldMkLst>
        <pc:spChg chg="mod">
          <ac:chgData name="Robert Johnstone" userId="cb449c38944dd802" providerId="LiveId" clId="{00E079DC-640D-424F-8DF1-351EB8A0556F}" dt="2020-03-29T15:33:58.862" v="0" actId="207"/>
          <ac:spMkLst>
            <pc:docMk/>
            <pc:sldMk cId="128915136" sldId="1947"/>
            <ac:spMk id="2" creationId="{06FA827F-0835-F743-91A9-F367EFCE32F6}"/>
          </ac:spMkLst>
        </pc:spChg>
        <pc:spChg chg="mod">
          <ac:chgData name="Robert Johnstone" userId="cb449c38944dd802" providerId="LiveId" clId="{00E079DC-640D-424F-8DF1-351EB8A0556F}" dt="2020-03-29T17:23:00.640" v="34" actId="113"/>
          <ac:spMkLst>
            <pc:docMk/>
            <pc:sldMk cId="128915136" sldId="1947"/>
            <ac:spMk id="3" creationId="{6370F228-B789-B249-BADA-2E1CF879D65B}"/>
          </ac:spMkLst>
        </pc:spChg>
      </pc:sldChg>
      <pc:sldChg chg="modSp">
        <pc:chgData name="Robert Johnstone" userId="cb449c38944dd802" providerId="LiveId" clId="{00E079DC-640D-424F-8DF1-351EB8A0556F}" dt="2020-03-29T17:32:53.858" v="297" actId="14100"/>
        <pc:sldMkLst>
          <pc:docMk/>
          <pc:sldMk cId="3720268094" sldId="1952"/>
        </pc:sldMkLst>
        <pc:spChg chg="mod">
          <ac:chgData name="Robert Johnstone" userId="cb449c38944dd802" providerId="LiveId" clId="{00E079DC-640D-424F-8DF1-351EB8A0556F}" dt="2020-03-29T17:24:40.616" v="83" actId="20577"/>
          <ac:spMkLst>
            <pc:docMk/>
            <pc:sldMk cId="3720268094" sldId="1952"/>
            <ac:spMk id="2" creationId="{CF47C920-260A-064B-B9CA-04A1A3A986D1}"/>
          </ac:spMkLst>
        </pc:spChg>
        <pc:spChg chg="mod">
          <ac:chgData name="Robert Johnstone" userId="cb449c38944dd802" providerId="LiveId" clId="{00E079DC-640D-424F-8DF1-351EB8A0556F}" dt="2020-03-29T17:32:53.858" v="297" actId="14100"/>
          <ac:spMkLst>
            <pc:docMk/>
            <pc:sldMk cId="3720268094" sldId="1952"/>
            <ac:spMk id="3" creationId="{84B0A658-148F-1A40-9016-484DCCC34CEC}"/>
          </ac:spMkLst>
        </pc:spChg>
      </pc:sldChg>
      <pc:sldChg chg="modSp">
        <pc:chgData name="Robert Johnstone" userId="cb449c38944dd802" providerId="LiveId" clId="{00E079DC-640D-424F-8DF1-351EB8A0556F}" dt="2020-03-29T17:27:28.562" v="192" actId="1036"/>
        <pc:sldMkLst>
          <pc:docMk/>
          <pc:sldMk cId="3391632219" sldId="1955"/>
        </pc:sldMkLst>
        <pc:spChg chg="mod">
          <ac:chgData name="Robert Johnstone" userId="cb449c38944dd802" providerId="LiveId" clId="{00E079DC-640D-424F-8DF1-351EB8A0556F}" dt="2020-03-29T17:26:53.803" v="163" actId="20577"/>
          <ac:spMkLst>
            <pc:docMk/>
            <pc:sldMk cId="3391632219" sldId="1955"/>
            <ac:spMk id="2" creationId="{489FC065-4E0A-CC4D-B2A3-53DA6780C94F}"/>
          </ac:spMkLst>
        </pc:spChg>
        <pc:spChg chg="mod">
          <ac:chgData name="Robert Johnstone" userId="cb449c38944dd802" providerId="LiveId" clId="{00E079DC-640D-424F-8DF1-351EB8A0556F}" dt="2020-03-29T17:27:28.562" v="192" actId="1036"/>
          <ac:spMkLst>
            <pc:docMk/>
            <pc:sldMk cId="3391632219" sldId="1955"/>
            <ac:spMk id="4" creationId="{12A78684-835C-5C44-946B-7F76B373D4FB}"/>
          </ac:spMkLst>
        </pc:spChg>
      </pc:sldChg>
      <pc:sldChg chg="modSp">
        <pc:chgData name="Robert Johnstone" userId="cb449c38944dd802" providerId="LiveId" clId="{00E079DC-640D-424F-8DF1-351EB8A0556F}" dt="2020-03-29T17:28:30.601" v="223" actId="113"/>
        <pc:sldMkLst>
          <pc:docMk/>
          <pc:sldMk cId="159093646" sldId="1956"/>
        </pc:sldMkLst>
        <pc:spChg chg="mod">
          <ac:chgData name="Robert Johnstone" userId="cb449c38944dd802" providerId="LiveId" clId="{00E079DC-640D-424F-8DF1-351EB8A0556F}" dt="2020-03-29T15:34:40.894" v="8" actId="207"/>
          <ac:spMkLst>
            <pc:docMk/>
            <pc:sldMk cId="159093646" sldId="1956"/>
            <ac:spMk id="2" creationId="{F04D14F9-5D02-2B49-AD78-450DC353074D}"/>
          </ac:spMkLst>
        </pc:spChg>
        <pc:spChg chg="mod">
          <ac:chgData name="Robert Johnstone" userId="cb449c38944dd802" providerId="LiveId" clId="{00E079DC-640D-424F-8DF1-351EB8A0556F}" dt="2020-03-29T17:28:30.601" v="223" actId="113"/>
          <ac:spMkLst>
            <pc:docMk/>
            <pc:sldMk cId="159093646" sldId="1956"/>
            <ac:spMk id="3" creationId="{AB752E70-FE32-5843-BE9F-04EE06E35745}"/>
          </ac:spMkLst>
        </pc:spChg>
      </pc:sldChg>
      <pc:sldChg chg="modSp">
        <pc:chgData name="Robert Johnstone" userId="cb449c38944dd802" providerId="LiveId" clId="{00E079DC-640D-424F-8DF1-351EB8A0556F}" dt="2020-03-31T16:35:17.196" v="322" actId="20577"/>
        <pc:sldMkLst>
          <pc:docMk/>
          <pc:sldMk cId="682321964" sldId="1959"/>
        </pc:sldMkLst>
        <pc:spChg chg="mod">
          <ac:chgData name="Robert Johnstone" userId="cb449c38944dd802" providerId="LiveId" clId="{00E079DC-640D-424F-8DF1-351EB8A0556F}" dt="2020-03-31T16:35:17.196" v="322" actId="20577"/>
          <ac:spMkLst>
            <pc:docMk/>
            <pc:sldMk cId="682321964" sldId="1959"/>
            <ac:spMk id="2" creationId="{00000000-0000-0000-0000-000000000000}"/>
          </ac:spMkLst>
        </pc:spChg>
        <pc:spChg chg="mod">
          <ac:chgData name="Robert Johnstone" userId="cb449c38944dd802" providerId="LiveId" clId="{00E079DC-640D-424F-8DF1-351EB8A0556F}" dt="2020-03-31T16:35:04.660" v="310" actId="27636"/>
          <ac:spMkLst>
            <pc:docMk/>
            <pc:sldMk cId="682321964" sldId="1959"/>
            <ac:spMk id="3" creationId="{00000000-0000-0000-0000-000000000000}"/>
          </ac:spMkLst>
        </pc:spChg>
      </pc:sldChg>
      <pc:sldChg chg="modSp">
        <pc:chgData name="Robert Johnstone" userId="cb449c38944dd802" providerId="LiveId" clId="{00E079DC-640D-424F-8DF1-351EB8A0556F}" dt="2020-03-29T17:23:18.855" v="37" actId="313"/>
        <pc:sldMkLst>
          <pc:docMk/>
          <pc:sldMk cId="2113119846" sldId="1971"/>
        </pc:sldMkLst>
        <pc:spChg chg="mod">
          <ac:chgData name="Robert Johnstone" userId="cb449c38944dd802" providerId="LiveId" clId="{00E079DC-640D-424F-8DF1-351EB8A0556F}" dt="2020-03-29T15:34:03.129" v="1" actId="207"/>
          <ac:spMkLst>
            <pc:docMk/>
            <pc:sldMk cId="2113119846" sldId="1971"/>
            <ac:spMk id="2" creationId="{E3446B13-2E95-464E-BF8F-7A7ACDF2D27C}"/>
          </ac:spMkLst>
        </pc:spChg>
        <pc:spChg chg="mod">
          <ac:chgData name="Robert Johnstone" userId="cb449c38944dd802" providerId="LiveId" clId="{00E079DC-640D-424F-8DF1-351EB8A0556F}" dt="2020-03-29T17:23:18.855" v="37" actId="313"/>
          <ac:spMkLst>
            <pc:docMk/>
            <pc:sldMk cId="2113119846" sldId="1971"/>
            <ac:spMk id="4" creationId="{847D5D02-5875-B44C-9B4C-348BDA45A985}"/>
          </ac:spMkLst>
        </pc:spChg>
      </pc:sldChg>
      <pc:sldChg chg="modSp">
        <pc:chgData name="Robert Johnstone" userId="cb449c38944dd802" providerId="LiveId" clId="{00E079DC-640D-424F-8DF1-351EB8A0556F}" dt="2020-03-29T17:31:55.740" v="257" actId="20577"/>
        <pc:sldMkLst>
          <pc:docMk/>
          <pc:sldMk cId="3619974840" sldId="1975"/>
        </pc:sldMkLst>
        <pc:spChg chg="mod">
          <ac:chgData name="Robert Johnstone" userId="cb449c38944dd802" providerId="LiveId" clId="{00E079DC-640D-424F-8DF1-351EB8A0556F}" dt="2020-03-29T17:31:55.740" v="257" actId="20577"/>
          <ac:spMkLst>
            <pc:docMk/>
            <pc:sldMk cId="3619974840" sldId="1975"/>
            <ac:spMk id="2" creationId="{CF47C920-260A-064B-B9CA-04A1A3A986D1}"/>
          </ac:spMkLst>
        </pc:spChg>
        <pc:spChg chg="mod">
          <ac:chgData name="Robert Johnstone" userId="cb449c38944dd802" providerId="LiveId" clId="{00E079DC-640D-424F-8DF1-351EB8A0556F}" dt="2020-03-29T17:24:34.598" v="80" actId="6549"/>
          <ac:spMkLst>
            <pc:docMk/>
            <pc:sldMk cId="3619974840" sldId="1975"/>
            <ac:spMk id="3" creationId="{84B0A658-148F-1A40-9016-484DCCC34CEC}"/>
          </ac:spMkLst>
        </pc:spChg>
      </pc:sldChg>
      <pc:sldChg chg="modSp">
        <pc:chgData name="Robert Johnstone" userId="cb449c38944dd802" providerId="LiveId" clId="{00E079DC-640D-424F-8DF1-351EB8A0556F}" dt="2020-03-29T17:31:59.759" v="259" actId="20577"/>
        <pc:sldMkLst>
          <pc:docMk/>
          <pc:sldMk cId="3406559750" sldId="1976"/>
        </pc:sldMkLst>
        <pc:spChg chg="mod">
          <ac:chgData name="Robert Johnstone" userId="cb449c38944dd802" providerId="LiveId" clId="{00E079DC-640D-424F-8DF1-351EB8A0556F}" dt="2020-03-29T17:31:59.759" v="259" actId="20577"/>
          <ac:spMkLst>
            <pc:docMk/>
            <pc:sldMk cId="3406559750" sldId="1976"/>
            <ac:spMk id="2" creationId="{CF47C920-260A-064B-B9CA-04A1A3A986D1}"/>
          </ac:spMkLst>
        </pc:spChg>
        <pc:spChg chg="mod">
          <ac:chgData name="Robert Johnstone" userId="cb449c38944dd802" providerId="LiveId" clId="{00E079DC-640D-424F-8DF1-351EB8A0556F}" dt="2020-03-29T17:25:13.903" v="98" actId="115"/>
          <ac:spMkLst>
            <pc:docMk/>
            <pc:sldMk cId="3406559750" sldId="1976"/>
            <ac:spMk id="3" creationId="{84B0A658-148F-1A40-9016-484DCCC34CEC}"/>
          </ac:spMkLst>
        </pc:spChg>
      </pc:sldChg>
      <pc:sldChg chg="modSp">
        <pc:chgData name="Robert Johnstone" userId="cb449c38944dd802" providerId="LiveId" clId="{00E079DC-640D-424F-8DF1-351EB8A0556F}" dt="2020-03-29T17:32:03.604" v="261" actId="20577"/>
        <pc:sldMkLst>
          <pc:docMk/>
          <pc:sldMk cId="534680157" sldId="1977"/>
        </pc:sldMkLst>
        <pc:spChg chg="mod">
          <ac:chgData name="Robert Johnstone" userId="cb449c38944dd802" providerId="LiveId" clId="{00E079DC-640D-424F-8DF1-351EB8A0556F}" dt="2020-03-29T17:32:03.604" v="261" actId="20577"/>
          <ac:spMkLst>
            <pc:docMk/>
            <pc:sldMk cId="534680157" sldId="1977"/>
            <ac:spMk id="2" creationId="{CF47C920-260A-064B-B9CA-04A1A3A986D1}"/>
          </ac:spMkLst>
        </pc:spChg>
        <pc:spChg chg="mod">
          <ac:chgData name="Robert Johnstone" userId="cb449c38944dd802" providerId="LiveId" clId="{00E079DC-640D-424F-8DF1-351EB8A0556F}" dt="2020-03-29T17:25:43.710" v="107" actId="115"/>
          <ac:spMkLst>
            <pc:docMk/>
            <pc:sldMk cId="534680157" sldId="1977"/>
            <ac:spMk id="3" creationId="{84B0A658-148F-1A40-9016-484DCCC34CEC}"/>
          </ac:spMkLst>
        </pc:spChg>
      </pc:sldChg>
      <pc:sldChg chg="modSp">
        <pc:chgData name="Robert Johnstone" userId="cb449c38944dd802" providerId="LiveId" clId="{00E079DC-640D-424F-8DF1-351EB8A0556F}" dt="2020-03-29T17:26:22.771" v="132" actId="1036"/>
        <pc:sldMkLst>
          <pc:docMk/>
          <pc:sldMk cId="2124083659" sldId="1978"/>
        </pc:sldMkLst>
        <pc:spChg chg="mod">
          <ac:chgData name="Robert Johnstone" userId="cb449c38944dd802" providerId="LiveId" clId="{00E079DC-640D-424F-8DF1-351EB8A0556F}" dt="2020-03-29T17:26:02.910" v="112" actId="20577"/>
          <ac:spMkLst>
            <pc:docMk/>
            <pc:sldMk cId="2124083659" sldId="1978"/>
            <ac:spMk id="2" creationId="{A212896D-3920-EA43-A026-51741A7F2227}"/>
          </ac:spMkLst>
        </pc:spChg>
        <pc:spChg chg="mod">
          <ac:chgData name="Robert Johnstone" userId="cb449c38944dd802" providerId="LiveId" clId="{00E079DC-640D-424F-8DF1-351EB8A0556F}" dt="2020-03-29T17:26:22.771" v="132" actId="1036"/>
          <ac:spMkLst>
            <pc:docMk/>
            <pc:sldMk cId="2124083659" sldId="1978"/>
            <ac:spMk id="5" creationId="{7CDEF541-B067-E349-824C-CA149825556E}"/>
          </ac:spMkLst>
        </pc:spChg>
      </pc:sldChg>
      <pc:sldChg chg="modSp add">
        <pc:chgData name="Robert Johnstone" userId="cb449c38944dd802" providerId="LiveId" clId="{00E079DC-640D-424F-8DF1-351EB8A0556F}" dt="2020-03-29T17:26:43.944" v="156" actId="1036"/>
        <pc:sldMkLst>
          <pc:docMk/>
          <pc:sldMk cId="1200350627" sldId="1979"/>
        </pc:sldMkLst>
        <pc:spChg chg="mod">
          <ac:chgData name="Robert Johnstone" userId="cb449c38944dd802" providerId="LiveId" clId="{00E079DC-640D-424F-8DF1-351EB8A0556F}" dt="2020-03-29T17:26:38.918" v="141" actId="20577"/>
          <ac:spMkLst>
            <pc:docMk/>
            <pc:sldMk cId="1200350627" sldId="1979"/>
            <ac:spMk id="2" creationId="{A212896D-3920-EA43-A026-51741A7F2227}"/>
          </ac:spMkLst>
        </pc:spChg>
        <pc:spChg chg="mod">
          <ac:chgData name="Robert Johnstone" userId="cb449c38944dd802" providerId="LiveId" clId="{00E079DC-640D-424F-8DF1-351EB8A0556F}" dt="2020-03-29T17:26:43.944" v="156" actId="1036"/>
          <ac:spMkLst>
            <pc:docMk/>
            <pc:sldMk cId="1200350627" sldId="1979"/>
            <ac:spMk id="5" creationId="{7CDEF541-B067-E349-824C-CA149825556E}"/>
          </ac:spMkLst>
        </pc:spChg>
      </pc:sldChg>
      <pc:sldChg chg="modSp add">
        <pc:chgData name="Robert Johnstone" userId="cb449c38944dd802" providerId="LiveId" clId="{00E079DC-640D-424F-8DF1-351EB8A0556F}" dt="2020-03-29T17:28:02.954" v="222" actId="403"/>
        <pc:sldMkLst>
          <pc:docMk/>
          <pc:sldMk cId="2603504375" sldId="1980"/>
        </pc:sldMkLst>
        <pc:spChg chg="mod">
          <ac:chgData name="Robert Johnstone" userId="cb449c38944dd802" providerId="LiveId" clId="{00E079DC-640D-424F-8DF1-351EB8A0556F}" dt="2020-03-29T17:27:48.859" v="215" actId="20577"/>
          <ac:spMkLst>
            <pc:docMk/>
            <pc:sldMk cId="2603504375" sldId="1980"/>
            <ac:spMk id="2" creationId="{489FC065-4E0A-CC4D-B2A3-53DA6780C94F}"/>
          </ac:spMkLst>
        </pc:spChg>
        <pc:spChg chg="mod">
          <ac:chgData name="Robert Johnstone" userId="cb449c38944dd802" providerId="LiveId" clId="{00E079DC-640D-424F-8DF1-351EB8A0556F}" dt="2020-03-29T17:28:02.954" v="222" actId="403"/>
          <ac:spMkLst>
            <pc:docMk/>
            <pc:sldMk cId="2603504375" sldId="1980"/>
            <ac:spMk id="4" creationId="{12A78684-835C-5C44-946B-7F76B373D4FB}"/>
          </ac:spMkLst>
        </pc:spChg>
      </pc:sldChg>
      <pc:sldChg chg="modSp add">
        <pc:chgData name="Robert Johnstone" userId="cb449c38944dd802" providerId="LiveId" clId="{00E079DC-640D-424F-8DF1-351EB8A0556F}" dt="2020-03-29T17:32:42.534" v="295" actId="1036"/>
        <pc:sldMkLst>
          <pc:docMk/>
          <pc:sldMk cId="3213521999" sldId="1981"/>
        </pc:sldMkLst>
        <pc:spChg chg="mod">
          <ac:chgData name="Robert Johnstone" userId="cb449c38944dd802" providerId="LiveId" clId="{00E079DC-640D-424F-8DF1-351EB8A0556F}" dt="2020-03-29T17:31:48.775" v="251" actId="20577"/>
          <ac:spMkLst>
            <pc:docMk/>
            <pc:sldMk cId="3213521999" sldId="1981"/>
            <ac:spMk id="2" creationId="{CF47C920-260A-064B-B9CA-04A1A3A986D1}"/>
          </ac:spMkLst>
        </pc:spChg>
        <pc:spChg chg="mod">
          <ac:chgData name="Robert Johnstone" userId="cb449c38944dd802" providerId="LiveId" clId="{00E079DC-640D-424F-8DF1-351EB8A0556F}" dt="2020-03-29T17:32:42.534" v="295" actId="1036"/>
          <ac:spMkLst>
            <pc:docMk/>
            <pc:sldMk cId="3213521999" sldId="1981"/>
            <ac:spMk id="3" creationId="{84B0A658-148F-1A40-9016-484DCCC34CE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r">
              <a:defRPr sz="1200"/>
            </a:lvl1pPr>
          </a:lstStyle>
          <a:p>
            <a:fld id="{3D53FCB3-3116-4BA0-A0FB-DF705EF6CDC8}" type="datetimeFigureOut">
              <a:rPr lang="en-US" smtClean="0"/>
              <a:t>6/2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87" tIns="46244" rIns="92487" bIns="4624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87" tIns="46244" rIns="92487" bIns="4624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r">
              <a:defRPr sz="1200"/>
            </a:lvl1pPr>
          </a:lstStyle>
          <a:p>
            <a:fld id="{E9EC6E68-91FA-4CA7-8DD7-25476B1B0A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832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C1BF69-0C71-4B88-AA8F-AF8EE4A4BD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326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68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61568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884991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(null)"/>
              <a:cs typeface="Helvetica"/>
              <a:sym typeface="Helvetica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Presenter’s contact information goes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09264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rt &amp; Title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953" y="755653"/>
            <a:ext cx="8326935" cy="341632"/>
          </a:xfrm>
        </p:spPr>
        <p:txBody>
          <a:bodyPr wrap="square" anchor="t" anchorCtr="0">
            <a:noAutofit/>
          </a:bodyPr>
          <a:lstStyle>
            <a:lvl1pPr algn="l">
              <a:defRPr sz="3200"/>
            </a:lvl1pPr>
          </a:lstStyle>
          <a:p>
            <a:r>
              <a:rPr lang="en-US" dirty="0"/>
              <a:t>Chart Title</a:t>
            </a:r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0"/>
          </p:nvPr>
        </p:nvSpPr>
        <p:spPr>
          <a:xfrm>
            <a:off x="424955" y="1475113"/>
            <a:ext cx="8327161" cy="4991003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1" hasCustomPrompt="1"/>
          </p:nvPr>
        </p:nvSpPr>
        <p:spPr>
          <a:xfrm>
            <a:off x="424953" y="6493238"/>
            <a:ext cx="8326935" cy="364763"/>
          </a:xfrm>
        </p:spPr>
        <p:txBody>
          <a:bodyPr>
            <a:noAutofit/>
          </a:bodyPr>
          <a:lstStyle>
            <a:lvl1pPr marL="0" indent="0">
              <a:buNone/>
              <a:defRPr sz="1000"/>
            </a:lvl1pPr>
            <a:lvl2pPr marL="457154" indent="0">
              <a:buNone/>
              <a:defRPr sz="1200"/>
            </a:lvl2pPr>
            <a:lvl3pPr marL="914306" indent="0">
              <a:buNone/>
              <a:defRPr sz="1200"/>
            </a:lvl3pPr>
            <a:lvl4pPr marL="1371460" indent="0">
              <a:buNone/>
              <a:defRPr sz="1200"/>
            </a:lvl4pPr>
            <a:lvl5pPr marL="1828613" indent="0">
              <a:buNone/>
              <a:defRPr sz="1200"/>
            </a:lvl5pPr>
          </a:lstStyle>
          <a:p>
            <a:pPr lvl="0"/>
            <a:r>
              <a:rPr lang="en-US" dirty="0"/>
              <a:t>Source: 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301144" y="377826"/>
            <a:ext cx="7842856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18" y="261705"/>
            <a:ext cx="711200" cy="232242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>
          <a:xfrm>
            <a:off x="0" y="377826"/>
            <a:ext cx="371754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93739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57962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185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536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849523"/>
      </p:ext>
    </p:extLst>
  </p:cSld>
  <p:clrMapOvr>
    <a:masterClrMapping/>
  </p:clrMapOvr>
  <p:transition>
    <p:dissolv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919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15570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158" y="261980"/>
            <a:ext cx="3541483" cy="68879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2912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522" y="91440"/>
            <a:ext cx="3145536" cy="106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377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2258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01608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5439" y="750982"/>
            <a:ext cx="8417597" cy="3841433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4" y="4591145"/>
            <a:ext cx="5473170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4368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646888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7996435" cy="4259820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34660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10692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13652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2960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002249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96" y="2002249"/>
            <a:ext cx="3665799" cy="4427189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63407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334965" y="2379663"/>
            <a:ext cx="3979863" cy="3831591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84703" y="2113915"/>
            <a:ext cx="3979862" cy="4097338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32" y="2415328"/>
            <a:ext cx="3979333" cy="379465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3976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415328"/>
            <a:ext cx="3979333" cy="380481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34965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282814" indent="-110586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85232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44398" indent="-233810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40937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20" y="3108962"/>
            <a:ext cx="183828" cy="459804"/>
          </a:xfrm>
          <a:prstGeom prst="rect">
            <a:avLst/>
          </a:prstGeom>
          <a:noFill/>
        </p:spPr>
        <p:txBody>
          <a:bodyPr wrap="none" lIns="90993" tIns="45497" rIns="90993" bIns="45497" rtlCol="0"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804271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50888"/>
            <a:ext cx="8229601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1990081"/>
            <a:ext cx="3979333" cy="422729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1981519"/>
            <a:ext cx="3995737" cy="4235766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494149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2201427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34965" y="2201427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36269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3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2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sz="2000" dirty="0"/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bout CCRC</a:t>
            </a:r>
            <a:endParaRPr sz="1100"/>
          </a:p>
        </p:txBody>
      </p:sp>
    </p:spTree>
    <p:extLst>
      <p:ext uri="{BB962C8B-B14F-4D97-AF65-F5344CB8AC3E}">
        <p14:creationId xmlns:p14="http://schemas.microsoft.com/office/powerpoint/2010/main" val="24585967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58197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2919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987073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406379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41223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6576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5811137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685626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7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0432597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462351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560085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you!</a:t>
            </a:r>
            <a:endParaRPr sz="1100"/>
          </a:p>
        </p:txBody>
      </p:sp>
    </p:spTree>
    <p:extLst>
      <p:ext uri="{BB962C8B-B14F-4D97-AF65-F5344CB8AC3E}">
        <p14:creationId xmlns:p14="http://schemas.microsoft.com/office/powerpoint/2010/main" val="21484220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5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1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algn="r"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3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806715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303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D6F66-3772-4378-A47F-9B36BBECAB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D89EFE-2D53-420E-97B2-34175C946F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6860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73842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0" y="6400846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5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8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Monday, June 22, 2020</a:t>
            </a:fld>
            <a:endParaRPr lang="en-US" altLang="en-US" sz="240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8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8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7364569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8245198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159256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179602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53054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222521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8411305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664819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0674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719659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6905174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85286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7684661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/>
          <p:cNvSpPr>
            <a:spLocks noGrp="1"/>
          </p:cNvSpPr>
          <p:nvPr>
            <p:ph type="sldNum" sz="quarter" idx="2"/>
          </p:nvPr>
        </p:nvSpPr>
        <p:spPr>
          <a:xfrm>
            <a:off x="6553211" y="6389055"/>
            <a:ext cx="2133600" cy="299727"/>
          </a:xfrm>
          <a:prstGeom prst="rect">
            <a:avLst/>
          </a:prstGeom>
        </p:spPr>
        <p:txBody>
          <a:bodyPr wrap="square" lIns="62689" tIns="62689" rIns="62689" bIns="62689" anchor="ctr">
            <a:spAutoFit/>
          </a:bodyPr>
          <a:lstStyle>
            <a:lvl1pPr algn="r" defTabSz="620435">
              <a:defRPr sz="1125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031850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4643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6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2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r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PRESENTATION TITLE IN HEADER / JUNE 8, 2012</a:t>
            </a:r>
            <a:endParaRPr kumimoji="0" lang="en-US" sz="70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4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COMMUNITY COLLEGE RESEARCH CENTER</a:t>
            </a:r>
            <a:endParaRPr kumimoji="0" lang="en-US" sz="70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58355788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02206"/>
            <a:fld id="{DE8D6F66-3772-4378-A47F-9B36BBECABB6}" type="datetimeFigureOut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6/22/2020</a:t>
            </a:fld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02206"/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02206"/>
            <a:fld id="{85D89EFE-2D53-420E-97B2-34175C946FAB}" type="slidenum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‹#›</a:t>
            </a:fld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82480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5016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7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30025" y="3108967"/>
            <a:ext cx="174908" cy="455428"/>
          </a:xfrm>
          <a:prstGeom prst="rect">
            <a:avLst/>
          </a:prstGeom>
          <a:noFill/>
        </p:spPr>
        <p:txBody>
          <a:bodyPr wrap="none" lIns="86576" tIns="43330" rIns="86576" bIns="43330" rtlCol="0"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41604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277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1" y="6400847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6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9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Monday, June 22, 2020</a:t>
            </a:fld>
            <a:endParaRPr lang="en-US" altLang="en-US" sz="240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9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9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42548362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Presentation Title</a:t>
            </a:r>
            <a:endParaRPr dirty="0"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Presenters’ Names</a:t>
            </a:r>
            <a:endParaRPr dirty="0"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314265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About CCRC</a:t>
            </a:r>
            <a:endParaRPr sz="1100" b="0" i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657019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415876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05716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73717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9356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62515500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lt1"/>
              </a:solidFill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Subtitle</a:t>
            </a:r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5390981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535738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7582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##</a:t>
            </a:r>
            <a:endParaRPr dirty="0"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4821442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621543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3789714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896528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</a:t>
            </a:r>
            <a:r>
              <a:rPr lang="en-US" sz="4400" b="1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you</a:t>
            </a: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!</a:t>
            </a:r>
            <a:endParaRPr sz="1100" b="0" i="0" dirty="0">
              <a:latin typeface="Arial (null)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Presenter’s contact information goes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13988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35809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227008"/>
      </p:ext>
    </p:extLst>
  </p:cSld>
  <p:clrMapOvr>
    <a:masterClrMapping/>
  </p:clrMapOvr>
  <p:transition>
    <p:dissolv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4154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7765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460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3355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7552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457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39329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9566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9045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4685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7674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792999"/>
      </p:ext>
    </p:extLst>
  </p:cSld>
  <p:clrMapOvr>
    <a:masterClrMapping/>
  </p:clrMapOvr>
  <p:transition>
    <p:dissolv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Presentation Title</a:t>
            </a:r>
            <a:endParaRPr dirty="0"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Presenters’ Names</a:t>
            </a:r>
            <a:endParaRPr dirty="0"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3720763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860484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5329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99742087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06288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21420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02218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903715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Subtitle</a:t>
            </a:r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81831025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05186323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##</a:t>
            </a:r>
            <a:endParaRPr dirty="0"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7494477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864002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71921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hyperlink" Target="http://www.inquiry2improvement.c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  <a:hlinkClick r:id="rId17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4663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258EB3"/>
            </a:gs>
            <a:gs pos="50000">
              <a:srgbClr val="258EB3">
                <a:gamma/>
                <a:tint val="39216"/>
                <a:invGamma/>
              </a:srgbClr>
            </a:gs>
            <a:gs pos="100000">
              <a:srgbClr val="258EB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033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7136" y="277526"/>
            <a:ext cx="9150334" cy="5987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0350" name="Group 14"/>
          <p:cNvGrpSpPr>
            <a:grpSpLocks/>
          </p:cNvGrpSpPr>
          <p:nvPr userDrawn="1"/>
        </p:nvGrpSpPr>
        <p:grpSpPr bwMode="auto">
          <a:xfrm>
            <a:off x="152400" y="6297613"/>
            <a:ext cx="457200" cy="458787"/>
            <a:chOff x="566" y="4031"/>
            <a:chExt cx="288" cy="289"/>
          </a:xfrm>
        </p:grpSpPr>
        <p:sp>
          <p:nvSpPr>
            <p:cNvPr id="270351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352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353" name="Oval 17">
              <a:hlinkClick r:id="" action="ppaction://hlinkshowjump?jump=previous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70354" name="Group 18"/>
          <p:cNvGrpSpPr>
            <a:grpSpLocks/>
          </p:cNvGrpSpPr>
          <p:nvPr userDrawn="1"/>
        </p:nvGrpSpPr>
        <p:grpSpPr bwMode="auto">
          <a:xfrm>
            <a:off x="7620000" y="176213"/>
            <a:ext cx="1371600" cy="328612"/>
            <a:chOff x="4690" y="1023"/>
            <a:chExt cx="864" cy="207"/>
          </a:xfrm>
        </p:grpSpPr>
        <p:sp>
          <p:nvSpPr>
            <p:cNvPr id="270355" name="WordArt 19" descr="30%"/>
            <p:cNvSpPr>
              <a:spLocks noChangeArrowheads="1" noChangeShapeType="1" noTextEdit="1"/>
            </p:cNvSpPr>
            <p:nvPr/>
          </p:nvSpPr>
          <p:spPr bwMode="auto">
            <a:xfrm>
              <a:off x="4690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 dirty="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6" name="WordArt 20" descr="30%"/>
            <p:cNvSpPr>
              <a:spLocks noChangeArrowheads="1" noChangeShapeType="1" noTextEdit="1"/>
            </p:cNvSpPr>
            <p:nvPr/>
          </p:nvSpPr>
          <p:spPr bwMode="auto">
            <a:xfrm>
              <a:off x="4988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7" name="WordArt 21" descr="30%"/>
            <p:cNvSpPr>
              <a:spLocks noChangeArrowheads="1" noChangeShapeType="1" noTextEdit="1"/>
            </p:cNvSpPr>
            <p:nvPr/>
          </p:nvSpPr>
          <p:spPr bwMode="auto">
            <a:xfrm>
              <a:off x="5287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</p:grpSp>
      <p:sp>
        <p:nvSpPr>
          <p:cNvPr id="16" name="Rectangle 61"/>
          <p:cNvSpPr>
            <a:spLocks noChangeArrowheads="1"/>
          </p:cNvSpPr>
          <p:nvPr userDrawn="1"/>
        </p:nvSpPr>
        <p:spPr bwMode="auto">
          <a:xfrm>
            <a:off x="833438" y="1449402"/>
            <a:ext cx="7472362" cy="4113198"/>
          </a:xfrm>
          <a:prstGeom prst="rect">
            <a:avLst/>
          </a:prstGeom>
          <a:gradFill rotWithShape="0">
            <a:gsLst>
              <a:gs pos="0">
                <a:srgbClr val="FFFFFF">
                  <a:gamma/>
                  <a:shade val="46275"/>
                  <a:invGamma/>
                </a:srgbClr>
              </a:gs>
              <a:gs pos="50000">
                <a:srgbClr val="FFFFFF"/>
              </a:gs>
              <a:gs pos="100000">
                <a:srgbClr val="FFFFFF">
                  <a:gamma/>
                  <a:shade val="46275"/>
                  <a:invGamma/>
                </a:srgbClr>
              </a:gs>
            </a:gsLst>
            <a:lin ang="5400000" scaled="1"/>
          </a:gradFill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altLang="en-US" sz="6600" b="1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pic>
        <p:nvPicPr>
          <p:cNvPr id="17" name="Picture 6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5000" y="1702572"/>
            <a:ext cx="5338762" cy="3602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4"/>
          <p:cNvGrpSpPr>
            <a:grpSpLocks/>
          </p:cNvGrpSpPr>
          <p:nvPr userDrawn="1"/>
        </p:nvGrpSpPr>
        <p:grpSpPr bwMode="auto">
          <a:xfrm rot="10800000">
            <a:off x="688976" y="6297613"/>
            <a:ext cx="457200" cy="458787"/>
            <a:chOff x="566" y="4031"/>
            <a:chExt cx="288" cy="289"/>
          </a:xfrm>
        </p:grpSpPr>
        <p:sp>
          <p:nvSpPr>
            <p:cNvPr id="19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Oval 17">
              <a:hlinkClick r:id="" action="ppaction://hlinkshowjump?jump=next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77519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963" y="762000"/>
            <a:ext cx="8229600" cy="1149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963" y="2008824"/>
            <a:ext cx="8229600" cy="4485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715125" y="6372226"/>
            <a:ext cx="183828" cy="459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8328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34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496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909956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64950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81993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169040" indent="-1690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565570" indent="-22118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737757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617">
          <a:solidFill>
            <a:srgbClr val="141313"/>
          </a:solidFill>
          <a:latin typeface="+mn-lt"/>
          <a:ea typeface="+mn-ea"/>
        </a:defRPr>
      </a:lvl3pPr>
      <a:lvl4pPr marL="909956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1617">
          <a:solidFill>
            <a:srgbClr val="141313"/>
          </a:solidFill>
          <a:latin typeface="+mn-lt"/>
          <a:ea typeface="+mn-ea"/>
        </a:defRPr>
      </a:lvl4pPr>
      <a:lvl5pPr marL="1082173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082173" algn="l"/>
        </a:tabLst>
        <a:defRPr sz="1406">
          <a:solidFill>
            <a:srgbClr val="141313"/>
          </a:solidFill>
          <a:latin typeface="+mn-lt"/>
          <a:ea typeface="+mn-ea"/>
        </a:defRPr>
      </a:lvl5pPr>
      <a:lvl6pPr marL="2443950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6pPr>
      <a:lvl7pPr marL="2898925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7pPr>
      <a:lvl8pPr marL="3353907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8pPr>
      <a:lvl9pPr marL="3808898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5496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0995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6495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19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274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29898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184879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3984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1004382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917" r:id="rId1"/>
    <p:sldLayoutId id="2147484918" r:id="rId2"/>
    <p:sldLayoutId id="2147484919" r:id="rId3"/>
    <p:sldLayoutId id="2147484920" r:id="rId4"/>
    <p:sldLayoutId id="2147484921" r:id="rId5"/>
    <p:sldLayoutId id="2147484922" r:id="rId6"/>
    <p:sldLayoutId id="2147484923" r:id="rId7"/>
    <p:sldLayoutId id="2147484924" r:id="rId8"/>
    <p:sldLayoutId id="2147484925" r:id="rId9"/>
    <p:sldLayoutId id="2147484926" r:id="rId10"/>
    <p:sldLayoutId id="2147484927" r:id="rId11"/>
    <p:sldLayoutId id="2147484928" r:id="rId12"/>
    <p:sldLayoutId id="2147484929" r:id="rId13"/>
    <p:sldLayoutId id="2147484930" r:id="rId14"/>
    <p:sldLayoutId id="2147484931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848243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22" r:id="rId1"/>
    <p:sldLayoutId id="2147485023" r:id="rId2"/>
    <p:sldLayoutId id="2147485024" r:id="rId3"/>
    <p:sldLayoutId id="2147485025" r:id="rId4"/>
    <p:sldLayoutId id="2147485026" r:id="rId5"/>
    <p:sldLayoutId id="2147485027" r:id="rId6"/>
    <p:sldLayoutId id="2147485028" r:id="rId7"/>
    <p:sldLayoutId id="2147485029" r:id="rId8"/>
    <p:sldLayoutId id="2147485030" r:id="rId9"/>
    <p:sldLayoutId id="2147485031" r:id="rId10"/>
    <p:sldLayoutId id="2147485032" r:id="rId11"/>
    <p:sldLayoutId id="2147485033" r:id="rId12"/>
    <p:sldLayoutId id="2147485034" r:id="rId13"/>
    <p:sldLayoutId id="2147485035" r:id="rId14"/>
    <p:sldLayoutId id="2147485036" r:id="rId15"/>
    <p:sldLayoutId id="2147485037" r:id="rId16"/>
    <p:sldLayoutId id="2147485038" r:id="rId17"/>
    <p:sldLayoutId id="2147485039" r:id="rId1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477233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41" r:id="rId1"/>
    <p:sldLayoutId id="2147485042" r:id="rId2"/>
    <p:sldLayoutId id="2147485043" r:id="rId3"/>
    <p:sldLayoutId id="2147485044" r:id="rId4"/>
    <p:sldLayoutId id="2147485045" r:id="rId5"/>
    <p:sldLayoutId id="2147485046" r:id="rId6"/>
    <p:sldLayoutId id="2147485047" r:id="rId7"/>
    <p:sldLayoutId id="2147485048" r:id="rId8"/>
    <p:sldLayoutId id="2147485049" r:id="rId9"/>
    <p:sldLayoutId id="2147485050" r:id="rId10"/>
    <p:sldLayoutId id="2147485051" r:id="rId11"/>
    <p:sldLayoutId id="2147485052" r:id="rId12"/>
    <p:sldLayoutId id="2147485053" r:id="rId13"/>
    <p:sldLayoutId id="2147485054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1705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57" r:id="rId1"/>
    <p:sldLayoutId id="2147485058" r:id="rId2"/>
    <p:sldLayoutId id="2147485059" r:id="rId3"/>
    <p:sldLayoutId id="2147485060" r:id="rId4"/>
    <p:sldLayoutId id="2147485061" r:id="rId5"/>
    <p:sldLayoutId id="2147485062" r:id="rId6"/>
    <p:sldLayoutId id="2147485063" r:id="rId7"/>
    <p:sldLayoutId id="2147485064" r:id="rId8"/>
    <p:sldLayoutId id="2147485065" r:id="rId9"/>
    <p:sldLayoutId id="2147485066" r:id="rId10"/>
    <p:sldLayoutId id="2147485067" r:id="rId11"/>
    <p:sldLayoutId id="2147485068" r:id="rId12"/>
    <p:sldLayoutId id="2147485069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960539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123" r:id="rId1"/>
    <p:sldLayoutId id="2147485124" r:id="rId2"/>
    <p:sldLayoutId id="2147485125" r:id="rId3"/>
    <p:sldLayoutId id="2147485126" r:id="rId4"/>
    <p:sldLayoutId id="2147485127" r:id="rId5"/>
    <p:sldLayoutId id="2147485128" r:id="rId6"/>
    <p:sldLayoutId id="2147485129" r:id="rId7"/>
    <p:sldLayoutId id="2147485130" r:id="rId8"/>
    <p:sldLayoutId id="2147485131" r:id="rId9"/>
    <p:sldLayoutId id="2147485132" r:id="rId10"/>
    <p:sldLayoutId id="2147485133" r:id="rId11"/>
    <p:sldLayoutId id="2147485134" r:id="rId12"/>
    <p:sldLayoutId id="2147485135" r:id="rId13"/>
    <p:sldLayoutId id="2147485136" r:id="rId14"/>
    <p:sldLayoutId id="2147485137" r:id="rId15"/>
    <p:sldLayoutId id="2147485138" r:id="rId1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cii-improve.com/" TargetMode="External"/><Relationship Id="rId1" Type="http://schemas.openxmlformats.org/officeDocument/2006/relationships/slideLayout" Target="../slideLayouts/slideLayout7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55171" y="479323"/>
            <a:ext cx="7982901" cy="3977347"/>
          </a:xfrm>
        </p:spPr>
        <p:txBody>
          <a:bodyPr anchor="ctr">
            <a:norm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4400" b="1" dirty="0"/>
              <a:t> </a:t>
            </a:r>
            <a:r>
              <a:rPr lang="en-US" sz="4900" b="1" dirty="0"/>
              <a:t>Fostering Faculty Diversity</a:t>
            </a:r>
            <a:br>
              <a:rPr lang="en-US" sz="4900" b="1" dirty="0"/>
            </a:br>
            <a:r>
              <a:rPr lang="en-US" sz="4900" b="1" dirty="0"/>
              <a:t>  </a:t>
            </a: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Advancing Equity through Guided Pathways Series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Discussion Guide #4 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Edward Bush, Cosumnes River College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 with Introduction by Kay </a:t>
            </a:r>
            <a:r>
              <a:rPr lang="en-US" sz="2800" b="1" i="1" dirty="0" err="1">
                <a:solidFill>
                  <a:srgbClr val="549E39">
                    <a:lumMod val="50000"/>
                  </a:srgbClr>
                </a:solidFill>
              </a:rPr>
              <a:t>McClenney</a:t>
            </a: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, NCII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8C28C9-49BD-154E-81F1-36BC551BC087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8ABEFA8C-A754-4739-AEB3-9B0D633E13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6101" y="5425510"/>
            <a:ext cx="3286125" cy="109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340765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1) 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301578"/>
            <a:ext cx="7680960" cy="5078627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en-US" sz="3200" i="1" dirty="0"/>
              <a:t>As an institutional redesign team, consider…</a:t>
            </a:r>
          </a:p>
          <a:p>
            <a:pPr lvl="0"/>
            <a:r>
              <a:rPr lang="en-US" dirty="0"/>
              <a:t>If the college &amp; its governing board has established goals for increasing faculty diversity</a:t>
            </a:r>
          </a:p>
          <a:p>
            <a:pPr lvl="1"/>
            <a:r>
              <a:rPr lang="en-US" sz="2000" dirty="0"/>
              <a:t>If yes, what accountability &amp; reporting measures are associated with those goals</a:t>
            </a:r>
          </a:p>
          <a:p>
            <a:pPr lvl="1"/>
            <a:r>
              <a:rPr lang="en-US" sz="2000" dirty="0"/>
              <a:t>If no, what the goals (&amp; associated accountability &amp; reporting measures) should be</a:t>
            </a:r>
          </a:p>
          <a:p>
            <a:pPr lvl="0"/>
            <a:r>
              <a:rPr lang="en-US" dirty="0"/>
              <a:t>What outside consulting assistance would help the college move through this work of faculty diver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0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083659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2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301578"/>
            <a:ext cx="7680960" cy="5078627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en-US" sz="3200" i="1" dirty="0"/>
              <a:t>As an institutional redesign team, consider…</a:t>
            </a:r>
          </a:p>
          <a:p>
            <a:pPr lvl="0"/>
            <a:r>
              <a:rPr lang="en-US" dirty="0"/>
              <a:t>What elements of the college’s hiring process need review &amp; revision in order to strengthen diversity in faculty hiring &amp; what next steps will be taken; consider:</a:t>
            </a:r>
          </a:p>
          <a:p>
            <a:pPr lvl="1"/>
            <a:r>
              <a:rPr lang="en-US" dirty="0"/>
              <a:t>Job descriptions</a:t>
            </a:r>
          </a:p>
          <a:p>
            <a:pPr lvl="1"/>
            <a:r>
              <a:rPr lang="en-US" dirty="0"/>
              <a:t>Minimum qualifications &amp; equivalencies</a:t>
            </a:r>
          </a:p>
          <a:p>
            <a:pPr lvl="1"/>
            <a:r>
              <a:rPr lang="en-US" dirty="0"/>
              <a:t>Recruitment processes</a:t>
            </a:r>
          </a:p>
          <a:p>
            <a:pPr lvl="1"/>
            <a:r>
              <a:rPr lang="en-US" dirty="0"/>
              <a:t>Hiring committee composition</a:t>
            </a:r>
          </a:p>
          <a:p>
            <a:pPr lvl="1"/>
            <a:r>
              <a:rPr lang="en-US" dirty="0"/>
              <a:t>Interview approach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1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350627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FC065-4E0A-CC4D-B2A3-53DA6780C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search Tasks (1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78684-835C-5C44-946B-7F76B373D4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297039"/>
            <a:ext cx="7680960" cy="4961521"/>
          </a:xfrm>
        </p:spPr>
        <p:txBody>
          <a:bodyPr>
            <a:normAutofit fontScale="92500"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sz="3000" i="1" dirty="0"/>
              <a:t>Determine how your college will…</a:t>
            </a:r>
          </a:p>
          <a:p>
            <a:pPr lvl="0">
              <a:spcBef>
                <a:spcPts val="1500"/>
              </a:spcBef>
            </a:pPr>
            <a:r>
              <a:rPr lang="en-US" sz="3000" dirty="0"/>
              <a:t>Analyze faculty &amp; student diversity in each program area, beginning with the highest-enrollment programs*</a:t>
            </a:r>
          </a:p>
          <a:p>
            <a:pPr lvl="0">
              <a:spcBef>
                <a:spcPts val="1500"/>
              </a:spcBef>
            </a:pPr>
            <a:r>
              <a:rPr lang="en-US" sz="3000" dirty="0"/>
              <a:t>Discuss</a:t>
            </a:r>
          </a:p>
          <a:p>
            <a:pPr lvl="1"/>
            <a:r>
              <a:rPr lang="en-US" dirty="0"/>
              <a:t>If it is possible for a student to complete a degree program &amp; never have an African American or Latinx instructor  </a:t>
            </a:r>
          </a:p>
          <a:p>
            <a:pPr lvl="1"/>
            <a:r>
              <a:rPr lang="en-US" dirty="0"/>
              <a:t>How many African American or Latinx instructors a student would likely encounter on their path</a:t>
            </a:r>
          </a:p>
          <a:p>
            <a:pPr marL="274320" lvl="1" indent="0">
              <a:buNone/>
            </a:pPr>
            <a:endParaRPr lang="en-US" sz="2000" i="1" dirty="0"/>
          </a:p>
          <a:p>
            <a:pPr marL="274320" lvl="1" indent="0">
              <a:buNone/>
            </a:pPr>
            <a:r>
              <a:rPr lang="en-US" sz="2000" i="1" dirty="0"/>
              <a:t>*Modify questions to address other marginalized student populations, in accord with the college’s student demographics</a:t>
            </a:r>
          </a:p>
          <a:p>
            <a:pPr lvl="0">
              <a:spcBef>
                <a:spcPts val="1500"/>
              </a:spcBef>
            </a:pPr>
            <a:endParaRPr lang="en-US" sz="2400" i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80BA71-DD0E-5147-9B04-48E296CBC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2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632219"/>
      </p:ext>
    </p:extLst>
  </p:cSld>
  <p:clrMapOvr>
    <a:masterClrMapping/>
  </p:clrMapOvr>
  <p:transition>
    <p:dissolv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FC065-4E0A-CC4D-B2A3-53DA6780C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search Tasks (2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78684-835C-5C44-946B-7F76B373D4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297039"/>
            <a:ext cx="7680960" cy="4616843"/>
          </a:xfrm>
        </p:spPr>
        <p:txBody>
          <a:bodyPr>
            <a:normAutofit fontScale="92500"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sz="3000" i="1" dirty="0"/>
              <a:t>Determine how your college will…</a:t>
            </a:r>
          </a:p>
          <a:p>
            <a:pPr lvl="0">
              <a:spcBef>
                <a:spcPts val="1500"/>
              </a:spcBef>
            </a:pPr>
            <a:r>
              <a:rPr lang="en-US" sz="3000" dirty="0"/>
              <a:t>Discuss</a:t>
            </a:r>
          </a:p>
          <a:p>
            <a:pPr lvl="1"/>
            <a:r>
              <a:rPr lang="en-US" sz="2600" dirty="0"/>
              <a:t>What is the percentage of students of color compared to the percentage of faculty of color who teach in that program pathway</a:t>
            </a:r>
          </a:p>
          <a:p>
            <a:pPr lvl="1"/>
            <a:r>
              <a:rPr lang="en-US" sz="2600" dirty="0"/>
              <a:t>What are the academic outcomes for African American &amp; Latinx students who did not have courses in their pathway taught by a faculty member of color versus outcomes for those who had diverse faculty</a:t>
            </a:r>
          </a:p>
          <a:p>
            <a:pPr lvl="1"/>
            <a:r>
              <a:rPr lang="en-US" sz="2600" dirty="0"/>
              <a:t>What are the potential unintended consequences for students of all races who never or seldom will have an instructor of color</a:t>
            </a:r>
          </a:p>
          <a:p>
            <a:pPr lvl="0">
              <a:spcBef>
                <a:spcPts val="1500"/>
              </a:spcBef>
            </a:pPr>
            <a:endParaRPr lang="en-US" sz="2400" i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80BA71-DD0E-5147-9B04-48E296CBC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3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3504375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4D14F9-5D02-2B49-AD78-450DC3530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For More Information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752E70-FE32-5843-BE9F-04EE06E357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1500"/>
              </a:spcAft>
            </a:pPr>
            <a:r>
              <a:rPr lang="en-US" dirty="0"/>
              <a:t>For related content, discussion questions, &amp; research tasks, review:</a:t>
            </a:r>
          </a:p>
          <a:p>
            <a:pPr lvl="1">
              <a:spcBef>
                <a:spcPts val="0"/>
              </a:spcBef>
              <a:spcAft>
                <a:spcPts val="1500"/>
              </a:spcAft>
            </a:pPr>
            <a:r>
              <a:rPr lang="en-US" i="1" dirty="0"/>
              <a:t>Leading Culture Change to Promote Equity: Perspectives from a CEO of Color </a:t>
            </a:r>
            <a:r>
              <a:rPr lang="en-US" dirty="0"/>
              <a:t>(Guide 2)</a:t>
            </a:r>
            <a:endParaRPr lang="en-US" i="1" dirty="0"/>
          </a:p>
          <a:p>
            <a:pPr lvl="1">
              <a:spcBef>
                <a:spcPts val="0"/>
              </a:spcBef>
              <a:spcAft>
                <a:spcPts val="1500"/>
              </a:spcAft>
            </a:pPr>
            <a:r>
              <a:rPr lang="en-US" i="1" dirty="0"/>
              <a:t>Leading Culture Change to Promote Equity: Perspectives from a White CEO </a:t>
            </a:r>
            <a:r>
              <a:rPr lang="en-US" dirty="0"/>
              <a:t>(Guide 3)</a:t>
            </a:r>
            <a:endParaRPr lang="en-US" sz="4000" dirty="0"/>
          </a:p>
          <a:p>
            <a:pPr>
              <a:spcBef>
                <a:spcPts val="0"/>
              </a:spcBef>
              <a:spcAft>
                <a:spcPts val="1500"/>
              </a:spcAft>
            </a:pPr>
            <a:r>
              <a:rPr lang="en-US" dirty="0"/>
              <a:t>For all guides &amp; additional information on the series, visit </a:t>
            </a:r>
            <a:r>
              <a:rPr lang="en-US" u="sng" dirty="0">
                <a:hlinkClick r:id="rId2"/>
              </a:rPr>
              <a:t>www.ncii-improve.com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07F085-538B-D845-84CB-86A5D39047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4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936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FA827F-0835-F743-91A9-F367EFCE3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How to Use This Pres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0F228-B789-B249-BADA-2E1CF879D6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689463"/>
            <a:ext cx="7680960" cy="4187769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dirty="0"/>
              <a:t>As an institutional redesign team…</a:t>
            </a:r>
          </a:p>
          <a:p>
            <a:pPr>
              <a:spcBef>
                <a:spcPts val="1500"/>
              </a:spcBef>
            </a:pPr>
            <a:r>
              <a:rPr lang="en-US" dirty="0"/>
              <a:t>Independently read </a:t>
            </a:r>
            <a:r>
              <a:rPr lang="en-US" i="1" dirty="0"/>
              <a:t>Advancing Equity through Guided Pathways Discussion Guide 4</a:t>
            </a:r>
          </a:p>
          <a:p>
            <a:r>
              <a:rPr lang="en-US" dirty="0"/>
              <a:t>Review the highlights (below) on </a:t>
            </a:r>
            <a:r>
              <a:rPr lang="en-US" u="sng" dirty="0"/>
              <a:t>fostering faculty diversity</a:t>
            </a:r>
          </a:p>
          <a:p>
            <a:pPr>
              <a:spcBef>
                <a:spcPts val="1500"/>
              </a:spcBef>
            </a:pPr>
            <a:r>
              <a:rPr lang="en-US" dirty="0"/>
              <a:t>Consider the discussion questions</a:t>
            </a:r>
          </a:p>
          <a:p>
            <a:pPr>
              <a:spcBef>
                <a:spcPts val="1500"/>
              </a:spcBef>
            </a:pPr>
            <a:r>
              <a:rPr lang="en-US" dirty="0"/>
              <a:t>Determine how to conduct the research task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D801F-C619-A947-9BD7-38FA50CE0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2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15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94343"/>
            <a:ext cx="7680960" cy="901337"/>
          </a:xfrm>
        </p:spPr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320" y="1076960"/>
            <a:ext cx="8219440" cy="5293360"/>
          </a:xfrm>
        </p:spPr>
        <p:txBody>
          <a:bodyPr>
            <a:normAutofit/>
          </a:bodyPr>
          <a:lstStyle/>
          <a:p>
            <a:pPr>
              <a:spcBef>
                <a:spcPts val="1500"/>
              </a:spcBef>
            </a:pPr>
            <a:r>
              <a:rPr lang="en-US" dirty="0"/>
              <a:t>Prepared as companion to the </a:t>
            </a:r>
            <a:r>
              <a:rPr lang="en-US" i="1" dirty="0"/>
              <a:t>Advancing Equity in Guided Pathways Discussion Guide 4</a:t>
            </a:r>
            <a:r>
              <a:rPr lang="en-US" dirty="0"/>
              <a:t>, authored by Edward Bush, Cosumnes River College, with introduction by Kay </a:t>
            </a:r>
            <a:r>
              <a:rPr lang="en-US" dirty="0" err="1"/>
              <a:t>McClenney</a:t>
            </a:r>
            <a:r>
              <a:rPr lang="en-US" dirty="0"/>
              <a:t>, American Association of Community Colleges</a:t>
            </a:r>
          </a:p>
          <a:p>
            <a:pPr>
              <a:spcBef>
                <a:spcPts val="1500"/>
              </a:spcBef>
            </a:pPr>
            <a:r>
              <a:rPr lang="en-US" dirty="0"/>
              <a:t>Intended to foster critical campus conversations about increasing student equity under a Guided Pathways umbrella </a:t>
            </a:r>
          </a:p>
          <a:p>
            <a:pPr lvl="1">
              <a:spcBef>
                <a:spcPts val="700"/>
              </a:spcBef>
            </a:pPr>
            <a:r>
              <a:rPr lang="en-US" dirty="0"/>
              <a:t>Across the series, authors bring their own unique perspectives on &amp; approach to the issue; no guide is intended as the definitive word on its topic</a:t>
            </a:r>
          </a:p>
          <a:p>
            <a:pPr marL="457200" indent="-457200">
              <a:buFont typeface="Arial" pitchFamily="34" charset="0"/>
              <a:buChar char="•"/>
            </a:pPr>
            <a:endParaRPr lang="en-US" sz="3200" dirty="0"/>
          </a:p>
          <a:p>
            <a:pPr marL="457200" indent="-457200">
              <a:buFont typeface="Arial" pitchFamily="34" charset="0"/>
              <a:buChar char="•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682321964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446B13-2E95-464E-BF8F-7A7ACDF2D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Why is Fostering Faculty Diversity Important to Equity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7D5D02-5875-B44C-9B4C-348BDA45A9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967029"/>
            <a:ext cx="7680960" cy="4076455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dirty="0"/>
              <a:t>Colleges often have significant misalignment between the race/ethnicity of students &amp; their educators</a:t>
            </a:r>
          </a:p>
          <a:p>
            <a:pPr marL="0" indent="0">
              <a:spcBef>
                <a:spcPts val="1500"/>
              </a:spcBef>
              <a:buNone/>
            </a:pPr>
            <a:r>
              <a:rPr lang="en-US" dirty="0"/>
              <a:t>Diverse faculty have a positive impact on all students’ outcomes (i.e., grades &amp; course success), but particularly on African American &amp; Latinx students</a:t>
            </a:r>
          </a:p>
          <a:p>
            <a:pPr marL="0" indent="0">
              <a:spcBef>
                <a:spcPts val="1500"/>
              </a:spcBef>
              <a:buNone/>
            </a:pPr>
            <a:endParaRPr lang="en-US" baseline="30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3CDFBB-DE10-E547-8C00-005E48DB3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1198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206103"/>
            <a:ext cx="7680960" cy="137160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Recommendations for Fostering Faculty Diversity (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841417"/>
            <a:ext cx="7874000" cy="3543383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Address the “Isms” Head-On (1)</a:t>
            </a:r>
          </a:p>
          <a:p>
            <a:pPr>
              <a:spcBef>
                <a:spcPts val="1500"/>
              </a:spcBef>
            </a:pPr>
            <a:r>
              <a:rPr lang="en-US" dirty="0"/>
              <a:t>Acknowledge that the “system” has been rigged in favor of white people – severely limiting opportunities for African Americans, Latinx, &amp; other historically marginalized populations </a:t>
            </a:r>
          </a:p>
          <a:p>
            <a:pPr>
              <a:spcBef>
                <a:spcPts val="1500"/>
              </a:spcBef>
            </a:pPr>
            <a:r>
              <a:rPr lang="en-US" dirty="0"/>
              <a:t>Host college forums about race</a:t>
            </a:r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5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2680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206103"/>
            <a:ext cx="7680960" cy="137160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Recommendations for Fostering Faculty Diversity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841417"/>
            <a:ext cx="7833360" cy="4884503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Address the “Isms” Head-On (2)</a:t>
            </a:r>
          </a:p>
          <a:p>
            <a:pPr>
              <a:spcBef>
                <a:spcPts val="1500"/>
              </a:spcBef>
            </a:pPr>
            <a:r>
              <a:rPr lang="en-US" dirty="0"/>
              <a:t>Hire equity consultants to facilitate college-wide professional development on issues of race &amp; equity</a:t>
            </a:r>
          </a:p>
          <a:p>
            <a:pPr>
              <a:spcBef>
                <a:spcPts val="1500"/>
              </a:spcBef>
            </a:pPr>
            <a:r>
              <a:rPr lang="en-US" dirty="0"/>
              <a:t>Provide training to address conscious &amp; unconscious bias</a:t>
            </a:r>
          </a:p>
          <a:p>
            <a:pPr>
              <a:spcBef>
                <a:spcPts val="1500"/>
              </a:spcBef>
            </a:pPr>
            <a:r>
              <a:rPr lang="en-US" dirty="0"/>
              <a:t>Create a clear race-conscious institutional definition for diversity &amp; inclusion</a:t>
            </a:r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6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5219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Recommendations for Fostering Faculty Diversity (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Invest</a:t>
            </a:r>
          </a:p>
          <a:p>
            <a:pPr>
              <a:spcBef>
                <a:spcPts val="1500"/>
              </a:spcBef>
            </a:pPr>
            <a:r>
              <a:rPr lang="en-US" dirty="0"/>
              <a:t>Hire experts who can help identify &amp; assist diverse individuals in applying for full- &amp; part-time faculty positions</a:t>
            </a:r>
          </a:p>
          <a:p>
            <a:pPr>
              <a:spcBef>
                <a:spcPts val="1500"/>
              </a:spcBef>
            </a:pPr>
            <a:r>
              <a:rPr lang="en-US" dirty="0"/>
              <a:t>Make diverse faculty hiring a college strategic priority &amp; suspend searches when the hiring pool does not include diverse applicants</a:t>
            </a:r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7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9748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Recommendations for Fostering Faculty Diversity (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Disrupt</a:t>
            </a:r>
          </a:p>
          <a:p>
            <a:r>
              <a:rPr lang="en-US" dirty="0"/>
              <a:t>Rigorously examine all hiring practices, including…</a:t>
            </a:r>
          </a:p>
          <a:p>
            <a:pPr lvl="1"/>
            <a:r>
              <a:rPr lang="en-US" dirty="0"/>
              <a:t>Minimum qualifications</a:t>
            </a:r>
          </a:p>
          <a:p>
            <a:pPr lvl="1"/>
            <a:r>
              <a:rPr lang="en-US" dirty="0"/>
              <a:t>Equivalency processes</a:t>
            </a:r>
          </a:p>
          <a:p>
            <a:pPr lvl="1"/>
            <a:r>
              <a:rPr lang="en-US" dirty="0"/>
              <a:t>Content specializations</a:t>
            </a:r>
          </a:p>
          <a:p>
            <a:pPr lvl="1"/>
            <a:r>
              <a:rPr lang="en-US" dirty="0"/>
              <a:t>Travel reimbursement policies</a:t>
            </a:r>
          </a:p>
          <a:p>
            <a:pPr lvl="1"/>
            <a:r>
              <a:rPr lang="en-US" dirty="0"/>
              <a:t>Hiring committee make-up  </a:t>
            </a:r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8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5597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Recommendations for Fostering Faculty Diversity (5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Ensure Accountability</a:t>
            </a:r>
            <a:r>
              <a:rPr lang="en-US" dirty="0"/>
              <a:t> </a:t>
            </a:r>
          </a:p>
          <a:p>
            <a:r>
              <a:rPr lang="en-US" dirty="0"/>
              <a:t>Establish clear accountability measures to monitor progress, including…</a:t>
            </a:r>
          </a:p>
          <a:p>
            <a:pPr lvl="1"/>
            <a:r>
              <a:rPr lang="en-US" dirty="0"/>
              <a:t>Transparency on the demographics of current full-time &amp; part-time faculty</a:t>
            </a:r>
          </a:p>
          <a:p>
            <a:pPr lvl="1"/>
            <a:r>
              <a:rPr lang="en-US" dirty="0"/>
              <a:t>Clear institutional goals on the hiring of faculty of color</a:t>
            </a:r>
          </a:p>
          <a:p>
            <a:pPr lvl="1"/>
            <a:r>
              <a:rPr lang="en-US" dirty="0"/>
              <a:t>Annual reports to the governing board regarding the demographics of new faculty hires</a:t>
            </a:r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9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6801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2.xml><?xml version="1.0" encoding="utf-8"?>
<a:theme xmlns:a="http://schemas.openxmlformats.org/drawingml/2006/main" name="Family Feud Master">
  <a:themeElements>
    <a:clrScheme name="Family Feud Bible Edition v1.5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Family Feud Bible Edition v1.5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lnDef>
  </a:objectDefaults>
  <a:extraClrSchemeLst>
    <a:extraClrScheme>
      <a:clrScheme name="Family Feud Bible Edition v1.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D0CD61F-64F4-8042-8B52-057EC0C08E7D}" vid="{CE445F00-00A9-B14A-A85E-C5DFAB001E1E}"/>
    </a:ext>
  </a:extLst>
</a:theme>
</file>

<file path=ppt/theme/theme7.xml><?xml version="1.0" encoding="utf-8"?>
<a:theme xmlns:a="http://schemas.openxmlformats.org/drawingml/2006/main" name="3_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8.xml><?xml version="1.0" encoding="utf-8"?>
<a:theme xmlns:a="http://schemas.openxmlformats.org/drawingml/2006/main" name="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CRC PowerPoint Template 2018.potx" id="{9B62C386-C4C1-224D-BD9F-7B871BB1274C}" vid="{EEFA916E-7339-4C4A-B1FC-FDCAD3B656DC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617</TotalTime>
  <Words>815</Words>
  <Application>Microsoft Office PowerPoint</Application>
  <PresentationFormat>On-screen Show (4:3)</PresentationFormat>
  <Paragraphs>96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32" baseType="lpstr">
      <vt:lpstr>Arial</vt:lpstr>
      <vt:lpstr>Arial (null)</vt:lpstr>
      <vt:lpstr>Arial Black</vt:lpstr>
      <vt:lpstr>Calibri</vt:lpstr>
      <vt:lpstr>Century Gothic</vt:lpstr>
      <vt:lpstr>Helvetica</vt:lpstr>
      <vt:lpstr>Tahoma</vt:lpstr>
      <vt:lpstr>Wingdings</vt:lpstr>
      <vt:lpstr>Savon</vt:lpstr>
      <vt:lpstr>Family Feud Master</vt:lpstr>
      <vt:lpstr>41_AmericasCharities_PPT_TEMPLATE_160511</vt:lpstr>
      <vt:lpstr>CCRC2017</vt:lpstr>
      <vt:lpstr>3_CCRC2017</vt:lpstr>
      <vt:lpstr>3_CCRC 2018 Theme</vt:lpstr>
      <vt:lpstr>3_Savon</vt:lpstr>
      <vt:lpstr>CCRC 2018 Theme</vt:lpstr>
      <vt:lpstr>Image</vt:lpstr>
      <vt:lpstr>think-cell Slide</vt:lpstr>
      <vt:lpstr> Fostering Faculty Diversity   Advancing Equity through Guided Pathways Series Discussion Guide #4   Edward Bush, Cosumnes River College  with Introduction by Kay McClenney, NCII</vt:lpstr>
      <vt:lpstr>How to Use This Presentation</vt:lpstr>
      <vt:lpstr>Background</vt:lpstr>
      <vt:lpstr>Why is Fostering Faculty Diversity Important to Equity?</vt:lpstr>
      <vt:lpstr>Recommendations for Fostering Faculty Diversity (1)</vt:lpstr>
      <vt:lpstr>Recommendations for Fostering Faculty Diversity (2)</vt:lpstr>
      <vt:lpstr>Recommendations for Fostering Faculty Diversity (3)</vt:lpstr>
      <vt:lpstr>Recommendations for Fostering Faculty Diversity (4)</vt:lpstr>
      <vt:lpstr>Recommendations for Fostering Faculty Diversity (5)</vt:lpstr>
      <vt:lpstr>Discussion Questions (1)  </vt:lpstr>
      <vt:lpstr>Discussion Questions (2) </vt:lpstr>
      <vt:lpstr>Research Tasks (1) </vt:lpstr>
      <vt:lpstr>Research Tasks (2) </vt:lpstr>
      <vt:lpstr>For More Information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ith</dc:creator>
  <cp:lastModifiedBy>Robert Johnstone</cp:lastModifiedBy>
  <cp:revision>708</cp:revision>
  <cp:lastPrinted>2014-07-14T16:09:47Z</cp:lastPrinted>
  <dcterms:created xsi:type="dcterms:W3CDTF">2013-06-11T18:27:20Z</dcterms:created>
  <dcterms:modified xsi:type="dcterms:W3CDTF">2020-06-23T01:27:32Z</dcterms:modified>
</cp:coreProperties>
</file>